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8"/>
  </p:notesMasterIdLst>
  <p:handoutMasterIdLst>
    <p:handoutMasterId r:id="rId9"/>
  </p:handoutMasterIdLst>
  <p:sldIdLst>
    <p:sldId id="438" r:id="rId3"/>
    <p:sldId id="439" r:id="rId4"/>
    <p:sldId id="440" r:id="rId5"/>
    <p:sldId id="441" r:id="rId6"/>
    <p:sldId id="442" r:id="rId7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9933"/>
    <a:srgbClr val="D0D8E8"/>
    <a:srgbClr val="E9EDF4"/>
    <a:srgbClr val="0066FF"/>
    <a:srgbClr val="0000FF"/>
    <a:srgbClr val="FFFF66"/>
    <a:srgbClr val="FFCC21"/>
    <a:srgbClr val="FFCC66"/>
    <a:srgbClr val="FFDD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9" d="100"/>
          <a:sy n="149" d="100"/>
        </p:scale>
        <p:origin x="2292" y="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2.09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2.09.2018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54B89FB-7AB8-4B0A-88E7-68941858E822}" type="slidenum">
              <a:rPr kumimoji="0" lang="fr-FR" alt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1280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10" Type="http://schemas.openxmlformats.org/officeDocument/2006/relationships/image" Target="../media/image13.jpeg"/><Relationship Id="rId4" Type="http://schemas.openxmlformats.org/officeDocument/2006/relationships/image" Target="../media/image8.jpeg"/><Relationship Id="rId9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jpeg"/><Relationship Id="rId5" Type="http://schemas.microsoft.com/office/2007/relationships/hdphoto" Target="../media/hdphoto2.wdp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gif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ptember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2, </a:t>
            </a: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8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513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/>
            <a:r>
              <a:rPr lang="en-US" sz="1800" dirty="0" smtClean="0"/>
              <a:t>Test of Bi electrodes for beam </a:t>
            </a:r>
            <a:r>
              <a:rPr lang="en-US" sz="1800" dirty="0" smtClean="0"/>
              <a:t>time are going on in Terminal North</a:t>
            </a:r>
          </a:p>
          <a:p>
            <a:pPr lvl="0"/>
            <a:r>
              <a:rPr lang="en-US" sz="1800" dirty="0"/>
              <a:t>P</a:t>
            </a:r>
            <a:r>
              <a:rPr lang="en-US" sz="1800" dirty="0" smtClean="0"/>
              <a:t>roblems with the old ion source program due to update of the front end controller</a:t>
            </a:r>
          </a:p>
          <a:p>
            <a:pPr lvl="0"/>
            <a:r>
              <a:rPr lang="en-US" sz="1800" dirty="0" smtClean="0"/>
              <a:t>2.7 Hz activity: soldering at </a:t>
            </a:r>
            <a:r>
              <a:rPr lang="en-US" sz="1800" dirty="0" err="1" smtClean="0"/>
              <a:t>Framatome</a:t>
            </a:r>
            <a:r>
              <a:rPr lang="en-US" sz="1800" dirty="0" smtClean="0"/>
              <a:t> of U on Cu failed, we try now to do this </a:t>
            </a:r>
            <a:r>
              <a:rPr lang="en-US" sz="1800" dirty="0" err="1" smtClean="0"/>
              <a:t>inhouse</a:t>
            </a:r>
            <a:r>
              <a:rPr lang="en-US" sz="1800" dirty="0" smtClean="0"/>
              <a:t> with other soldering material from company </a:t>
            </a:r>
            <a:r>
              <a:rPr lang="en-US" sz="1800" dirty="0" err="1" smtClean="0"/>
              <a:t>Hauner</a:t>
            </a:r>
            <a:r>
              <a:rPr lang="en-US" sz="1800" dirty="0" smtClean="0"/>
              <a:t> (Au-Si and Au-Ge); fabrication of water cooled electrode holder is going on</a:t>
            </a:r>
          </a:p>
          <a:p>
            <a:pPr lvl="0"/>
            <a:r>
              <a:rPr lang="en-US" sz="1800" dirty="0" smtClean="0"/>
              <a:t>Build up </a:t>
            </a:r>
            <a:r>
              <a:rPr lang="en-US" sz="1800" dirty="0" err="1" smtClean="0"/>
              <a:t>Chordis</a:t>
            </a:r>
            <a:r>
              <a:rPr lang="en-US" sz="1800" dirty="0" smtClean="0"/>
              <a:t> for IAP is going on; ready for installation in 2-3 weeks; how to proceed? Installation at IAP with our help, but operating the source by IAP members</a:t>
            </a:r>
          </a:p>
          <a:p>
            <a:pPr lvl="0"/>
            <a:r>
              <a:rPr lang="en-US" sz="1800" dirty="0" smtClean="0"/>
              <a:t>Build up </a:t>
            </a:r>
            <a:r>
              <a:rPr lang="en-US" sz="1800" dirty="0" err="1" smtClean="0"/>
              <a:t>Duoplasmatron</a:t>
            </a:r>
            <a:r>
              <a:rPr lang="en-US" sz="1800" dirty="0" smtClean="0"/>
              <a:t> for p production is going on (Prof. Jacoby)</a:t>
            </a:r>
          </a:p>
          <a:p>
            <a:pPr lvl="0"/>
            <a:r>
              <a:rPr lang="en-US" sz="1800" dirty="0" smtClean="0"/>
              <a:t>financial planning for 2019</a:t>
            </a:r>
          </a:p>
          <a:p>
            <a:pPr lvl="0"/>
            <a:r>
              <a:rPr lang="en-US" sz="1800" dirty="0" smtClean="0"/>
              <a:t>ECRIS (ECR) workshop in Catania this week (</a:t>
            </a:r>
            <a:r>
              <a:rPr lang="en-US" sz="1800" dirty="0" err="1" smtClean="0"/>
              <a:t>K.Tinschert</a:t>
            </a:r>
            <a:r>
              <a:rPr lang="en-US" sz="1800" dirty="0" smtClean="0"/>
              <a:t>, </a:t>
            </a:r>
            <a:r>
              <a:rPr lang="en-US" sz="1800" dirty="0" err="1" smtClean="0"/>
              <a:t>F.Maimone</a:t>
            </a:r>
            <a:r>
              <a:rPr lang="en-US" sz="1800" dirty="0" smtClean="0"/>
              <a:t>)</a:t>
            </a:r>
          </a:p>
          <a:p>
            <a:pPr lvl="0"/>
            <a:r>
              <a:rPr lang="en-US" sz="1800" dirty="0" smtClean="0"/>
              <a:t>Preparation of MOU for collaboration with </a:t>
            </a:r>
            <a:r>
              <a:rPr lang="en-US" sz="1800" dirty="0" err="1" smtClean="0"/>
              <a:t>Finnland</a:t>
            </a:r>
            <a:endParaRPr lang="en-US" sz="1800" dirty="0" smtClean="0"/>
          </a:p>
          <a:p>
            <a:pPr lvl="0"/>
            <a:r>
              <a:rPr lang="en-US" sz="1800" dirty="0" err="1" smtClean="0"/>
              <a:t>R.Hollinger</a:t>
            </a:r>
            <a:r>
              <a:rPr lang="en-US" sz="1800" dirty="0" smtClean="0"/>
              <a:t> is now IAC member for ICIS</a:t>
            </a:r>
          </a:p>
          <a:p>
            <a:pPr lvl="0"/>
            <a:r>
              <a:rPr lang="en-US" sz="1800" dirty="0" smtClean="0"/>
              <a:t>MAC invitation; topic is high current ion sources</a:t>
            </a:r>
          </a:p>
          <a:p>
            <a:pPr lvl="0"/>
            <a:r>
              <a:rPr lang="en-US" sz="1800" dirty="0" smtClean="0"/>
              <a:t>Uranium injector: Concept for fire protection, timeline, financial planning is going on</a:t>
            </a:r>
          </a:p>
          <a:p>
            <a:pPr lvl="0"/>
            <a:r>
              <a:rPr lang="en-US" sz="1800" dirty="0" smtClean="0"/>
              <a:t>ZBS for BH1 will be active soon</a:t>
            </a:r>
            <a:endParaRPr lang="de-DE" sz="18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fr-FR" dirty="0" smtClean="0"/>
              <a:t>Lötung mit alternativen Loten</a:t>
            </a:r>
            <a:br>
              <a:rPr lang="de-DE" altLang="fr-FR" dirty="0" smtClean="0"/>
            </a:br>
            <a:r>
              <a:rPr lang="de-DE" altLang="fr-FR" dirty="0" err="1" smtClean="0"/>
              <a:t>InCuSil</a:t>
            </a:r>
            <a:endParaRPr lang="de-DE" noProof="0" dirty="0"/>
          </a:p>
        </p:txBody>
      </p:sp>
      <p:sp>
        <p:nvSpPr>
          <p:cNvPr id="11" name="Textfeld 10"/>
          <p:cNvSpPr txBox="1"/>
          <p:nvPr/>
        </p:nvSpPr>
        <p:spPr>
          <a:xfrm>
            <a:off x="21782" y="5589240"/>
            <a:ext cx="2587567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ben: </a:t>
            </a:r>
            <a:r>
              <a:rPr kumimoji="0" lang="de-DE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otblech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auf U-Metall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ten: zusammengezogenes Lot</a:t>
            </a:r>
            <a:b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(Bei </a:t>
            </a:r>
            <a:r>
              <a:rPr kumimoji="0" lang="de-DE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gPd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identisches Bild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2603784" y="5595823"/>
            <a:ext cx="325762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inks: Gute Benetzung von </a:t>
            </a:r>
            <a:r>
              <a:rPr kumimoji="0" lang="de-DE" sz="12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u</a:t>
            </a:r>
            <a:endParaRPr kumimoji="0" lang="de-DE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echts: minimaler Kontakt von Lot und U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976073" y="5549657"/>
            <a:ext cx="3054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Oben: Lot an Tiegelwand hochgezogen</a:t>
            </a:r>
            <a:b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ten</a:t>
            </a: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am Boden leichte </a:t>
            </a: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erklebung, </a:t>
            </a:r>
            <a:b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um Kontakt</a:t>
            </a:r>
          </a:p>
        </p:txBody>
      </p:sp>
      <p:pic>
        <p:nvPicPr>
          <p:cNvPr id="4098" name="Picture 2" descr="E:\20180821_15154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8704" y="3030866"/>
            <a:ext cx="2414739" cy="2326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 descr="E:\20180821_165725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499991" y="3074670"/>
            <a:ext cx="1343119" cy="170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E:\20180821_165716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53131" y="3063252"/>
            <a:ext cx="1546860" cy="1706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1" name="Picture 5" descr="E:\20180821_160415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94743" y="3633623"/>
            <a:ext cx="1649257" cy="160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E:\20180821_160418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92559" y="3633623"/>
            <a:ext cx="1500363" cy="1607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E:\20180821_160237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82717" y="1556792"/>
            <a:ext cx="1961283" cy="2072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5" name="Picture 9" descr="E:\20180821_123244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98704" y="904402"/>
            <a:ext cx="2414739" cy="212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3602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fr-FR" dirty="0"/>
              <a:t>Lötung mit alternativen Loten</a:t>
            </a:r>
            <a:br>
              <a:rPr lang="de-DE" altLang="fr-FR" dirty="0"/>
            </a:br>
            <a:r>
              <a:rPr lang="de-DE" altLang="fr-FR" dirty="0" err="1" smtClean="0"/>
              <a:t>TiCuSil</a:t>
            </a:r>
            <a:endParaRPr lang="de-DE" dirty="0"/>
          </a:p>
        </p:txBody>
      </p:sp>
      <p:pic>
        <p:nvPicPr>
          <p:cNvPr id="5124" name="Picture 4" descr="E:\20180810_15520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3456254" y="1459261"/>
            <a:ext cx="1936218" cy="1573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E:\Capture_00011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31840" y="3216786"/>
            <a:ext cx="3164114" cy="1364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Ellipse 4"/>
          <p:cNvSpPr/>
          <p:nvPr/>
        </p:nvSpPr>
        <p:spPr bwMode="auto">
          <a:xfrm>
            <a:off x="4355976" y="2677884"/>
            <a:ext cx="792088" cy="648072"/>
          </a:xfrm>
          <a:prstGeom prst="ellipse">
            <a:avLst/>
          </a:prstGeom>
          <a:noFill/>
          <a:ln w="2857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1" i="0" u="none" strike="noStrike" kern="1200" cap="none" spc="0" normalizeH="0" baseline="0" noProof="0" smtClean="0">
              <a:ln>
                <a:noFill/>
              </a:ln>
              <a:solidFill>
                <a:srgbClr val="E52E81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4098" name="Picture 2" descr="E:\TiCuSil Übersicht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44207" y="1268760"/>
            <a:ext cx="2689847" cy="4090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0800000">
            <a:off x="4371" y="2142740"/>
            <a:ext cx="3004877" cy="2619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28504" y="4869160"/>
            <a:ext cx="3040961" cy="8463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sere Ausbreitung auf U-Metall</a:t>
            </a:r>
            <a:b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ls </a:t>
            </a:r>
            <a:r>
              <a:rPr kumimoji="0" lang="de-DE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gPd</a:t>
            </a: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oder </a:t>
            </a:r>
            <a:r>
              <a:rPr kumimoji="0" lang="de-DE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InCuAg</a:t>
            </a:r>
            <a:endParaRPr kumimoji="0" lang="de-DE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unkelblaue Oxidschich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3362527" y="4903449"/>
            <a:ext cx="25378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bildung eines Meniskus</a:t>
            </a:r>
            <a:b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zwischen Lot und U-Metall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6444207" y="5292353"/>
            <a:ext cx="268984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Verbindung übersteht </a:t>
            </a:r>
            <a:b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Drehen des U-Metalls</a:t>
            </a:r>
            <a:b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Tiefe </a:t>
            </a:r>
            <a:r>
              <a:rPr kumimoji="0" lang="de-DE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Eindiffusion</a:t>
            </a: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des Lots in </a:t>
            </a:r>
            <a:r>
              <a:rPr kumimoji="0" lang="de-DE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Cu</a:t>
            </a:r>
            <a: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/>
            </a:r>
            <a:br>
              <a:rPr kumimoji="0" lang="de-DE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endParaRPr kumimoji="0" lang="de-DE" sz="1400" b="1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5891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574675" y="1412776"/>
            <a:ext cx="8245797" cy="4318000"/>
          </a:xfrm>
        </p:spPr>
        <p:txBody>
          <a:bodyPr/>
          <a:lstStyle/>
          <a:p>
            <a:r>
              <a:rPr lang="de-DE" sz="1800" dirty="0" err="1" smtClean="0"/>
              <a:t>InCuSil</a:t>
            </a:r>
            <a:endParaRPr lang="de-DE" sz="1800" dirty="0" smtClean="0"/>
          </a:p>
          <a:p>
            <a:pPr lvl="1"/>
            <a:r>
              <a:rPr lang="de-DE" sz="1400" dirty="0"/>
              <a:t>Mit </a:t>
            </a:r>
            <a:r>
              <a:rPr lang="de-DE" sz="1400" dirty="0" err="1"/>
              <a:t>Cu</a:t>
            </a:r>
            <a:r>
              <a:rPr lang="de-DE" sz="1400" dirty="0"/>
              <a:t> gute </a:t>
            </a:r>
            <a:r>
              <a:rPr lang="de-DE" sz="1400" dirty="0" smtClean="0"/>
              <a:t>Benetzung und Verbindung</a:t>
            </a:r>
            <a:endParaRPr lang="de-DE" sz="1400" dirty="0"/>
          </a:p>
          <a:p>
            <a:pPr lvl="1"/>
            <a:r>
              <a:rPr lang="de-DE" sz="1400" dirty="0" smtClean="0"/>
              <a:t>Eher </a:t>
            </a:r>
            <a:r>
              <a:rPr lang="de-DE" sz="1400" dirty="0"/>
              <a:t>Abstoßung von </a:t>
            </a:r>
            <a:r>
              <a:rPr lang="de-DE" sz="1400" dirty="0" smtClean="0"/>
              <a:t>U, keine Benetzung </a:t>
            </a:r>
            <a:endParaRPr lang="de-DE" sz="1400" dirty="0"/>
          </a:p>
          <a:p>
            <a:pPr lvl="1"/>
            <a:r>
              <a:rPr lang="de-DE" sz="1400" dirty="0" smtClean="0"/>
              <a:t>Keine belastbare Verbindung </a:t>
            </a:r>
          </a:p>
          <a:p>
            <a:pPr lvl="1"/>
            <a:r>
              <a:rPr lang="de-DE" sz="1400" dirty="0" smtClean="0"/>
              <a:t>Nicht weiter verfolgt</a:t>
            </a:r>
          </a:p>
          <a:p>
            <a:pPr lvl="1"/>
            <a:endParaRPr lang="de-DE" sz="1800" dirty="0"/>
          </a:p>
          <a:p>
            <a:r>
              <a:rPr lang="de-DE" sz="1800" dirty="0" err="1" smtClean="0"/>
              <a:t>TiCuSil</a:t>
            </a:r>
            <a:endParaRPr lang="de-DE" sz="1800" dirty="0" smtClean="0"/>
          </a:p>
          <a:p>
            <a:pPr lvl="1"/>
            <a:r>
              <a:rPr lang="de-DE" sz="1400" dirty="0" smtClean="0"/>
              <a:t>Bessere Benetzung von U als </a:t>
            </a:r>
            <a:r>
              <a:rPr lang="de-DE" sz="1400" dirty="0" err="1" smtClean="0"/>
              <a:t>InCuSil</a:t>
            </a:r>
            <a:r>
              <a:rPr lang="de-DE" sz="1400" dirty="0" smtClean="0"/>
              <a:t> und </a:t>
            </a:r>
            <a:r>
              <a:rPr lang="de-DE" sz="1400" dirty="0" err="1" smtClean="0"/>
              <a:t>AgPd</a:t>
            </a:r>
            <a:endParaRPr lang="de-DE" sz="1400" dirty="0" smtClean="0"/>
          </a:p>
          <a:p>
            <a:pPr lvl="1"/>
            <a:r>
              <a:rPr lang="de-DE" sz="1400" dirty="0" smtClean="0"/>
              <a:t>Gute Verbindung mit </a:t>
            </a:r>
            <a:r>
              <a:rPr lang="de-DE" sz="1400" dirty="0" err="1" smtClean="0"/>
              <a:t>Cu</a:t>
            </a:r>
            <a:endParaRPr lang="de-DE" sz="1400" dirty="0" smtClean="0"/>
          </a:p>
          <a:p>
            <a:pPr lvl="1"/>
            <a:r>
              <a:rPr lang="de-DE" sz="1400" dirty="0" smtClean="0"/>
              <a:t>Bisher belastbarste Verbindung </a:t>
            </a:r>
          </a:p>
          <a:p>
            <a:pPr lvl="1"/>
            <a:r>
              <a:rPr lang="de-DE" sz="1400" dirty="0" smtClean="0"/>
              <a:t>Interdiffusionsschicht mit U</a:t>
            </a:r>
          </a:p>
          <a:p>
            <a:pPr lvl="1"/>
            <a:endParaRPr lang="de-DE" sz="1400" dirty="0" smtClean="0"/>
          </a:p>
          <a:p>
            <a:pPr lvl="1"/>
            <a:endParaRPr lang="de-DE" sz="1400" dirty="0" smtClean="0"/>
          </a:p>
          <a:p>
            <a:r>
              <a:rPr lang="de-DE" sz="1800" dirty="0" smtClean="0"/>
              <a:t>Kontinuierliche Mischbarkeit von </a:t>
            </a:r>
            <a:br>
              <a:rPr lang="de-DE" sz="1800" dirty="0" smtClean="0"/>
            </a:br>
            <a:r>
              <a:rPr lang="de-DE" sz="1800" dirty="0" smtClean="0"/>
              <a:t>U und </a:t>
            </a:r>
            <a:r>
              <a:rPr lang="de-DE" sz="1800" dirty="0" err="1" smtClean="0"/>
              <a:t>Ti</a:t>
            </a:r>
            <a:r>
              <a:rPr lang="de-DE" sz="1800" dirty="0" smtClean="0"/>
              <a:t> scheint richtigen Weg zu weisen</a:t>
            </a:r>
          </a:p>
          <a:p>
            <a:pPr marL="0" indent="0">
              <a:buNone/>
            </a:pPr>
            <a:endParaRPr lang="de-DE" sz="18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azit</a:t>
            </a:r>
            <a:endParaRPr lang="de-DE" dirty="0"/>
          </a:p>
        </p:txBody>
      </p:sp>
      <p:pic>
        <p:nvPicPr>
          <p:cNvPr id="9219" name="Picture 3" descr="X:\Fuel-MatundTM\03_UO2-Labor\OE-Brennstofflabor\3_Projekte\GSI Uranelektroden\U-Legierungen\Ti-U.gif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8"/>
          <a:stretch/>
        </p:blipFill>
        <p:spPr bwMode="auto">
          <a:xfrm>
            <a:off x="5436095" y="3356059"/>
            <a:ext cx="3683457" cy="2891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16039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7093669" cy="4318000"/>
          </a:xfrm>
        </p:spPr>
        <p:txBody>
          <a:bodyPr/>
          <a:lstStyle/>
          <a:p>
            <a:r>
              <a:rPr lang="de-DE" dirty="0" smtClean="0"/>
              <a:t>Verkupfertes Uran</a:t>
            </a:r>
          </a:p>
          <a:p>
            <a:r>
              <a:rPr lang="de-DE" dirty="0" smtClean="0"/>
              <a:t>Silberfreies </a:t>
            </a:r>
            <a:r>
              <a:rPr lang="de-DE" dirty="0" err="1" smtClean="0"/>
              <a:t>CuTi</a:t>
            </a:r>
            <a:r>
              <a:rPr lang="de-DE" dirty="0" smtClean="0"/>
              <a:t>-Lot?</a:t>
            </a:r>
          </a:p>
          <a:p>
            <a:r>
              <a:rPr lang="de-DE" dirty="0" smtClean="0"/>
              <a:t>Optimierung </a:t>
            </a:r>
            <a:r>
              <a:rPr lang="de-DE" dirty="0" err="1" smtClean="0"/>
              <a:t>TiCuSil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Nächste Schrit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5444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90</Words>
  <Application>Microsoft Office PowerPoint</Application>
  <PresentationFormat>Bildschirmpräsentation (4:3)</PresentationFormat>
  <Paragraphs>48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3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  <vt:lpstr>Lötung mit alternativen Loten InCuSil</vt:lpstr>
      <vt:lpstr>Lötung mit alternativen Loten TiCuSil</vt:lpstr>
      <vt:lpstr>Fazit</vt:lpstr>
      <vt:lpstr>Nächste Schritte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Hollinger, Ralph Dr.</cp:lastModifiedBy>
  <cp:revision>809</cp:revision>
  <cp:lastPrinted>2018-04-10T12:56:10Z</cp:lastPrinted>
  <dcterms:created xsi:type="dcterms:W3CDTF">2012-12-14T15:20:39Z</dcterms:created>
  <dcterms:modified xsi:type="dcterms:W3CDTF">2018-09-12T06:26:04Z</dcterms:modified>
</cp:coreProperties>
</file>